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311" r:id="rId2"/>
    <p:sldId id="436" r:id="rId3"/>
    <p:sldId id="437" r:id="rId4"/>
    <p:sldId id="438" r:id="rId5"/>
    <p:sldId id="439" r:id="rId6"/>
    <p:sldId id="440" r:id="rId7"/>
    <p:sldId id="441" r:id="rId8"/>
    <p:sldId id="442" r:id="rId9"/>
    <p:sldId id="314" r:id="rId1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0/4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Applications of Differentiation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Chain Rule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Linear Approximation</a:t>
            </a:r>
          </a:p>
        </p:txBody>
      </p:sp>
      <p:sp>
        <p:nvSpPr>
          <p:cNvPr id="12" name="Rechteck 11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’Hospital’s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Rules &amp; Indeterminate Form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</a:t>
            </a:r>
          </a:p>
          <a:p>
            <a:pPr algn="ctr"/>
            <a:r>
              <a:rPr lang="en-US" sz="1000" dirty="0" smtClean="0"/>
              <a:t>Differenti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plicit Differenti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roximation plays a key role in mathematics and its applications</a:t>
            </a:r>
            <a:endParaRPr lang="en-US" dirty="0"/>
          </a:p>
        </p:txBody>
      </p:sp>
      <p:pic>
        <p:nvPicPr>
          <p:cNvPr id="1026" name="Picture 2" descr="https://i.pinimg.com/originals/97/f5/38/97f5384c9b8d6ceebf3b894efc106adb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90"/>
            <a:ext cx="4320480" cy="2609571"/>
          </a:xfrm>
          <a:prstGeom prst="rect">
            <a:avLst/>
          </a:prstGeom>
          <a:noFill/>
        </p:spPr>
      </p:pic>
      <p:sp>
        <p:nvSpPr>
          <p:cNvPr id="4" name="Textfeld 3"/>
          <p:cNvSpPr txBox="1"/>
          <p:nvPr/>
        </p:nvSpPr>
        <p:spPr>
          <a:xfrm>
            <a:off x="251520" y="3867894"/>
            <a:ext cx="4320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xample: </a:t>
            </a:r>
            <a:r>
              <a:rPr lang="en-US" sz="1400" dirty="0" smtClean="0"/>
              <a:t>successive polynomial approximation of the sine function at 0</a:t>
            </a:r>
            <a:endParaRPr lang="en-US" sz="1400" dirty="0"/>
          </a:p>
        </p:txBody>
      </p:sp>
      <p:sp>
        <p:nvSpPr>
          <p:cNvPr id="5" name="Rechteck 4"/>
          <p:cNvSpPr/>
          <p:nvPr/>
        </p:nvSpPr>
        <p:spPr>
          <a:xfrm>
            <a:off x="5148064" y="1131590"/>
            <a:ext cx="374441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We have already seen that a tangent line can be used to  locally understand the behavior of a function (linear approximation) near a point </a:t>
            </a:r>
            <a:r>
              <a:rPr lang="en-US" sz="1400" i="1" dirty="0" smtClean="0">
                <a:solidFill>
                  <a:schemeClr val="tx1"/>
                </a:solidFill>
              </a:rPr>
              <a:t>a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aking further information into account, like second, third, … order derivatives the approximation becomes more accurate for a wider range of numbers about the point of expansion </a:t>
            </a:r>
            <a:r>
              <a:rPr lang="en-US" sz="1400" i="1" dirty="0" smtClean="0">
                <a:solidFill>
                  <a:schemeClr val="tx1"/>
                </a:solidFill>
              </a:rPr>
              <a:t>a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is procedure even allows us later to write certain functions as infinite power-series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The major question in this context are that of the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quality of the approximation and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ange on which we trust the approximation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Next, we discuss some aspects of these two questions for linear approximations.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4731990"/>
            <a:ext cx="720080" cy="28803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imation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 zooming in toward a point on the graph of a differentiable function, we already noticed that the graph looks more and more like its tangent line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84260" y="1188354"/>
            <a:ext cx="5381817" cy="3743964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85870"/>
            <a:ext cx="224973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is gives rise to the (local) approximation of a function by its linearization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84260" y="1188354"/>
            <a:ext cx="5358791" cy="2541590"/>
          </a:xfrm>
          <a:prstGeom prst="rect">
            <a:avLst/>
          </a:prstGeom>
          <a:noFill/>
          <a:ln/>
          <a:effectLst/>
        </p:spPr>
      </p:pic>
      <p:sp>
        <p:nvSpPr>
          <p:cNvPr id="7" name="Abgerundetes Rechteck 6"/>
          <p:cNvSpPr/>
          <p:nvPr/>
        </p:nvSpPr>
        <p:spPr>
          <a:xfrm>
            <a:off x="4319972" y="1491630"/>
            <a:ext cx="367240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bgerundetes Rechteck 7"/>
          <p:cNvSpPr/>
          <p:nvPr/>
        </p:nvSpPr>
        <p:spPr>
          <a:xfrm>
            <a:off x="4319972" y="2958078"/>
            <a:ext cx="3672408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60" y="1085870"/>
            <a:ext cx="224973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463" y="1040913"/>
            <a:ext cx="2920773" cy="1595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84260" y="1203593"/>
            <a:ext cx="5376844" cy="328434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463" y="1040913"/>
            <a:ext cx="2920773" cy="1595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4379" y="2899380"/>
            <a:ext cx="2791457" cy="1616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60" y="1203595"/>
            <a:ext cx="5376957" cy="361397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9991" y="1082443"/>
            <a:ext cx="2523739" cy="1796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84258" y="1188355"/>
            <a:ext cx="5371478" cy="3637661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inear approximation</a:t>
            </a:r>
            <a:endParaRPr lang="en-US" dirty="0"/>
          </a:p>
        </p:txBody>
      </p:sp>
      <p:grpSp>
        <p:nvGrpSpPr>
          <p:cNvPr id="3" name="Gruppieren 6"/>
          <p:cNvGrpSpPr/>
          <p:nvPr/>
        </p:nvGrpSpPr>
        <p:grpSpPr>
          <a:xfrm>
            <a:off x="209991" y="1082443"/>
            <a:ext cx="2523739" cy="3862907"/>
            <a:chOff x="179512" y="1059583"/>
            <a:chExt cx="2232248" cy="3416745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79512" y="1059583"/>
              <a:ext cx="2232248" cy="15891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62568" y="2956272"/>
              <a:ext cx="2125950" cy="1520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84259" y="1188354"/>
            <a:ext cx="5372652" cy="372606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6,209"/>
  <p:tag name="ORIGINALWIDTH" val="3439,82"/>
  <p:tag name="LATEXADDIN" val="\documentclass{article}\pagestyle{empty}&#10;\usepackage{amsmath}&#10;\usepackage{amsfonts}&#10;\usepackage{amssymb}&#10;\begin{document}&#10;\begin{minipage}{9.7 cm}&#10;{\sffamily{&#10;We have seen that a curve lies very close to its tangent line near the point of tangency. In&#10;fact, by zooming in toward a point on the graph of a differentiable function, we noticed&#10;that the graph looks more and more like its tangent line. This observation&#10;is the basis for a method of finding approximate values of functions.\\[2mm]&#10;The idea is that it might be easy to calculate a value $f(a)$ of a function, but difficult&#10;(or even impossible) to compute nearby values of $f$. So we settle for the easily computed&#10;values of the linear function $L$ whose graph is the tangent line of $f$ at $(a, f(a))$, see the&#10;figure.\\[2mm]&#10;In other words, we use the tangent line at $(a, f(a))$ as an approximation to the curve&#10;$y = f(x)$ when $x$ is near $a$. An equation of this tangent line is&#10;$$&#10;y \, \, = \, \, f(a) + f'(a) (x-a) \, .&#10;$$&#10;}}&#10;\end{minipage}&#10;\end{document}"/>
  <p:tag name="IGUANATEXSIZE" val="20"/>
  <p:tag name="IGUANATEXCURSOR" val="9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7,053"/>
  <p:tag name="ORIGINALWIDTH" val="3424,072"/>
  <p:tag name="LATEXADDIN" val="\documentclass{article}\pagestyle{empty}&#10;\usepackage{amsmath}&#10;\usepackage{amsfonts}&#10;\usepackage{amssymb}&#10;\begin{document}&#10;\begin{minipage}{9.7 cm}&#10;{\sffamily{&#10;The approximation&#10;$$&#10;f(x) \, \, \approx \, \, f(a) + f'(a) (x-a) \, .&#10;$$&#10;is called the {\bf{linear approximation}} or {\bf{tangent line approximation}} of $f$ at $a$.\\[2mm]&#10;The linear function whose graph is this tangent line, that is,&#10;$$&#10;L(x) \, \, = \, \, f(a) + f'(a) (x-a) \, .&#10;$$&#10;is called the {\bf{linearization}} of $f$ at $a$.&#10;}}&#10;\end{minipage}&#10;\end{document}"/>
  <p:tag name="IGUANATEXSIZE" val="20"/>
  <p:tag name="IGUANATEXCURSOR" val="3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2,996"/>
  <p:tag name="ORIGINALWIDTH" val="3433,821"/>
  <p:tag name="LATEXADDIN" val="\documentclass{article}\pagestyle{empty}&#10;\usepackage{amsmath}&#10;\usepackage{amsfonts}&#10;\usepackage{amssymb}&#10;\begin{document}&#10;\begin{minipage}{9.7 cm}&#10;{\sffamily{&#10;{\bf{Example:}}&#10;Find the linearization of the function $f(x) = \sqrt{x+3}$ at $a = 1$ and use it to approximate the numbers&#10;$\sqrt{3.98}$ and $\sqrt{4.05}$. Are these approximations overestimates or underestimates?\\[2mm]&#10;{\bf{Solution:}}\\[1mm]&#10;The derivative of $f(x) = (x+3)^{1/2}$ is&#10;$$&#10;f'(x) \, \, = \, \, \tfrac{1}{2} (x+3)^{-1/2} \, \, = \, \, \frac{1}{2 \sqrt{x+3}}&#10;$$&#10;and so we have $f(1) = 2$ and $f'(1) = \tfrac{1}{4}$. We see that the linearization is&#10;$$&#10;L(x) \, \, = \, \, f(1) + f'(1)(x-1) \, \, = \, \, 2 + \tfrac{1}{4}(x-1) \, \, = \, \, \frac{7}{4} + \frac{x}{4} \, .&#10;$$&#10;}}&#10;\end{minipage}&#10;\end{document}"/>
  <p:tag name="IGUANATEXSIZE" val="20"/>
  <p:tag name="IGUANATEXCURSOR" val="656"/>
  <p:tag name="TRANSPARENCY" val="Wahr"/>
  <p:tag name="FILENAME" val=""/>
  <p:tag name="LATEXENGINEID" val="0"/>
  <p:tag name="TEMPFOLDER" val="C:\Users\Public\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6,97"/>
  <p:tag name="ORIGINALWIDTH" val="3433,821"/>
  <p:tag name="LATEXADDIN" val="\documentclass{article}\pagestyle{empty}&#10;\usepackage{amsmath}&#10;\usepackage{amsfonts}&#10;\usepackage{amssymb}&#10;\begin{document}&#10;\begin{minipage}{9.7 cm}&#10;{\sffamily{&#10;The corresponding linear approximation is&#10;$$&#10;\sqrt{x+3} \, \, \approx \, \, \frac{7}{4} + \frac{x}{4} \qquad \text{(when $x$ is near $1$)}&#10;$$&#10;In particular, we have&#10;$$&#10;\sqrt{3.98} \approx \tfrac{7}{4} + \tfrac{0.98}{4} = 1.995 \quad \text{and} \quad&#10;\sqrt{4.05} \approx \tfrac{7}{4} + \tfrac{1.05}{4} = 2.0125 \, .&#10;$$&#10;From the figure we see that, indeed, the tangent line&#10;approximation is a good approximation to the given function when $x$ is near $1$. We also&#10;see that our approximations are overestimates because the tangent line lies above the curve.\\[2mm]&#10;Of course, a calculator could give us approximations for $\sqrt{3.98}$ and $\sqrt{4.05}$, but the&#10;linear approximation gives an approximation over an entire interval.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2,719"/>
  <p:tag name="ORIGINALWIDTH" val="3430,822"/>
  <p:tag name="LATEXADDIN" val="\documentclass{article}\pagestyle{empty}&#10;\usepackage{amsmath}&#10;\usepackage{amsfonts}&#10;\usepackage{amssymb}&#10;\begin{document}&#10;\begin{minipage}{9.7 cm}&#10;{\sffamily{&#10;{\bf{Example:}}&#10;For what values of $x$ is the linear approximation&#10;$$&#10;\sqrt{x+3} \, \, \approx \, \, \frac{7}{4} \, + \, \frac{x}{4}&#10;$$&#10;accurate to within $0.5$? What about accuracy to within $0.1$?\\[2mm]&#10;{\bf{Solution:}}\\[1mm]&#10;Accuracy to within $0.5$ means that the functions should differ by less than $0.5$:&#10;$$&#10;\left| \sqrt{x+3} - \left( \frac{7}{4} + \frac{x}{4} \right) \right| \, \, &lt; \, \, 0.5 \, .&#10;$$&#10;Equivalently, we could write&#10;$$&#10;\sqrt{x+3} - 0.5 \, \, &lt; \, \, \tfrac{7}{4} + \tfrac{x}{4} \, \, &lt; \, \, \sqrt{x+3} + 0.5 \, .&#10;$$&#10;&#10;}}&#10;\end{minipage}&#10;\end{document}"/>
  <p:tag name="IGUANATEXSIZE" val="20"/>
  <p:tag name="IGUANATEXCURSOR" val="1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7,462"/>
  <p:tag name="ORIGINALWIDTH" val="3431,571"/>
  <p:tag name="LATEXADDIN" val="\documentclass{article}\pagestyle{empty}&#10;\usepackage{amsmath}&#10;\usepackage{amsfonts}&#10;\usepackage{amssymb}&#10;\begin{document}&#10;\begin{minipage}{9.7 cm}&#10;{\sffamily{&#10;This says that the linear approximation should lie between the curves obtained by shifting&#10;the curve $y = \sqrt{x+3}$ upward and downward by an amount $0.5$. The upper figure on te left-hand side shows&#10;the tangent line $y = \frac{7+x}{4}$ intersecting the upper curve $y = \sqrt{x+3} + 0.5$ at $P$&#10;and $Q$.\\[2mm]&#10;Zooming in and using the cursor, we estimate that the $x$-coordinate of $P$ is about&#10;$-2.66$ and the $x$-coordinate of $Q$ is about $8.66$. Thus we see from the graph that the&#10;approximation&#10;$$&#10;\sqrt{x+3} \, \, \approx \, \, \tfrac{7}{4} + \tfrac{x}{4} &#10;$$&#10;is accurate to within $0.5$ when $-2.6 &lt; x &lt; 8.6$. (We have rounded to be safe.)\\[2mm]&#10;Similarly, from the lower figure on te left-hand side we see that the approximation is accurate to within $0.1$&#10;when $-1.1 &lt; x &lt; 3.9$.&#10;}}&#10;\end{minipage}&#10;\end{document}"/>
  <p:tag name="IGUANATEXSIZE" val="20"/>
  <p:tag name="IGUANATEXCURSOR" val="7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9</Words>
  <Application>Microsoft Office PowerPoint</Application>
  <PresentationFormat>Bildschirmpräsentation (16:9)</PresentationFormat>
  <Paragraphs>27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Larissa-Design</vt:lpstr>
      <vt:lpstr>Calculus I for MGMT – Applications of Differentiation Linear Approximation</vt:lpstr>
      <vt:lpstr>Approximation plays a key role in mathematics and its applications</vt:lpstr>
      <vt:lpstr>By zooming in toward a point on the graph of a differentiable function, we already noticed that the graph looks more and more like its tangent line …</vt:lpstr>
      <vt:lpstr>… this gives rise to the (local) approximation of a function by its linearization </vt:lpstr>
      <vt:lpstr>Example: Linear approximation</vt:lpstr>
      <vt:lpstr>Example: Linear approximation</vt:lpstr>
      <vt:lpstr>Example: Linear approximation</vt:lpstr>
      <vt:lpstr>Example: Linear approximatio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0</cp:revision>
  <dcterms:created xsi:type="dcterms:W3CDTF">2020-04-04T18:50:50Z</dcterms:created>
  <dcterms:modified xsi:type="dcterms:W3CDTF">2022-10-04T20:36:15Z</dcterms:modified>
</cp:coreProperties>
</file>